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4"/>
  </p:notesMasterIdLst>
  <p:handoutMasterIdLst>
    <p:handoutMasterId r:id="rId75"/>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317"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30" d="100"/>
          <a:sy n="130" d="100"/>
        </p:scale>
        <p:origin x="156" y="84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1/8/2018</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1/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37402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e quality standard tags selection, the Quality Standards Mapping extension should be installed on the central where the application resides.</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33990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71811750"/>
              </p:ext>
            </p:extLst>
          </p:nvPr>
        </p:nvGraphicFramePr>
        <p:xfrm>
          <a:off x="2067660" y="4105764"/>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sub-standards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57708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STD =  Name of the parent quality standard you want the details, for example, CWE-2011-Top25 will list total, added and removed violations for standards CWE-22, CWE-78, CWE-79, CWE-89, CWE-134, CWE-327, CWE-434 and CWE-798</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418329"/>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384209"/>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638</TotalTime>
  <Words>6711</Words>
  <Application>Microsoft Office PowerPoint</Application>
  <PresentationFormat>Widescreen</PresentationFormat>
  <Paragraphs>2016</Paragraphs>
  <Slides>72</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2</vt:i4>
      </vt:variant>
    </vt:vector>
  </HeadingPairs>
  <TitlesOfParts>
    <vt:vector size="83"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56</cp:revision>
  <dcterms:created xsi:type="dcterms:W3CDTF">2016-10-16T15:51:34Z</dcterms:created>
  <dcterms:modified xsi:type="dcterms:W3CDTF">2018-11-08T10:43:56Z</dcterms:modified>
</cp:coreProperties>
</file>